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7" r:id="rId2"/>
    <p:sldMasterId id="2147483770" r:id="rId3"/>
    <p:sldMasterId id="2147483738" r:id="rId4"/>
  </p:sldMasterIdLst>
  <p:notesMasterIdLst>
    <p:notesMasterId r:id="rId20"/>
  </p:notesMasterIdLst>
  <p:handoutMasterIdLst>
    <p:handoutMasterId r:id="rId21"/>
  </p:handoutMasterIdLst>
  <p:sldIdLst>
    <p:sldId id="340" r:id="rId5"/>
    <p:sldId id="661" r:id="rId6"/>
    <p:sldId id="680" r:id="rId7"/>
    <p:sldId id="666" r:id="rId8"/>
    <p:sldId id="683" r:id="rId9"/>
    <p:sldId id="682" r:id="rId10"/>
    <p:sldId id="686" r:id="rId11"/>
    <p:sldId id="684" r:id="rId12"/>
    <p:sldId id="685" r:id="rId13"/>
    <p:sldId id="687" r:id="rId14"/>
    <p:sldId id="688" r:id="rId15"/>
    <p:sldId id="689" r:id="rId16"/>
    <p:sldId id="690" r:id="rId17"/>
    <p:sldId id="676" r:id="rId18"/>
    <p:sldId id="270" r:id="rId19"/>
  </p:sldIdLst>
  <p:sldSz cx="12192000" cy="6858000"/>
  <p:notesSz cx="6858000" cy="9144000"/>
  <p:defaultTextStyle>
    <a:defPPr>
      <a:defRPr lang="en-US"/>
    </a:defPPr>
    <a:lvl1pPr marL="0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1pPr>
    <a:lvl2pPr marL="521797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2pPr>
    <a:lvl3pPr marL="1043594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3pPr>
    <a:lvl4pPr marL="1565393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4pPr>
    <a:lvl5pPr marL="2087190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5pPr>
    <a:lvl6pPr marL="2608987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6pPr>
    <a:lvl7pPr marL="3130785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7pPr>
    <a:lvl8pPr marL="3652582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8pPr>
    <a:lvl9pPr marL="4174379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01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535353"/>
    <a:srgbClr val="FF375F"/>
    <a:srgbClr val="1ECBD0"/>
    <a:srgbClr val="00E4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2" autoAdjust="0"/>
    <p:restoredTop sz="94626" autoAdjust="0"/>
  </p:normalViewPr>
  <p:slideViewPr>
    <p:cSldViewPr snapToGrid="0" showGuides="1">
      <p:cViewPr varScale="1">
        <p:scale>
          <a:sx n="106" d="100"/>
          <a:sy n="106" d="100"/>
        </p:scale>
        <p:origin x="594" y="108"/>
      </p:cViewPr>
      <p:guideLst>
        <p:guide orient="horz" pos="200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8" d="100"/>
        <a:sy n="3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8441A5F-628D-44D1-A609-075C3964E1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346285-E5C5-477E-927A-DED670A810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4484-00AE-4A89-A56A-1F3F4E6AD2E7}" type="datetimeFigureOut">
              <a:rPr lang="en-US" smtClean="0"/>
              <a:t>2/1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1ED41A-B88D-4A51-802B-2BF0EF593B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4A25E8-9FAE-471C-835A-E37A1F93E3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6B5260-6B02-43F1-8733-AE49755B67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105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7D4DE8-A922-4B1E-BC2A-E5A2A021B048}" type="datetimeFigureOut">
              <a:rPr lang="en-US" smtClean="0"/>
              <a:t>2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76CC90-A44C-4E13-BEC7-0F8CA1F95A1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79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797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3594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5393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7190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8987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30785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2582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4379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70F54715-A93F-4896-93D9-0F87EC2FA63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5508" y="685816"/>
            <a:ext cx="1880984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46B7DFA-C5E8-4F62-AD8D-4DEE7917F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ABD64B8-C9CA-4D12-BB30-52ABBBA59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38732F-5EB5-436D-B40F-847E37FC0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2C29C81-DF56-4D2E-89D6-7B733339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38DB0D8-2A95-458B-BC03-75E42A03A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5FBA9D-B6C7-4BE7-90DC-3572BFC95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48DD9144-12C1-4B89-9F6D-92B4361D9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01B98C09-7AAE-43C7-82DE-9DB278B02F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4FD3F7-7AD2-4CA4-8D7C-34E6C136A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E3F74A4C-3F35-49ED-8FDB-98270CD3D0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21094686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90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3955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4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411083"/>
            <a:ext cx="5292112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3659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" y="-1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7200" y="41108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00" y="1521184"/>
            <a:ext cx="5292000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00489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3429905"/>
            <a:ext cx="6095094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>
            <a:lvl1pPr>
              <a:defRPr sz="1597"/>
            </a:lvl1pPr>
            <a:lvl2pPr>
              <a:defRPr sz="1597"/>
            </a:lvl2pPr>
            <a:lvl3pPr>
              <a:defRPr sz="1597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906" y="4"/>
            <a:ext cx="6095094" cy="3429905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spPr>
        <p:txBody>
          <a:bodyPr lIns="360000" tIns="360000" rIns="360000" bIns="360000" anchor="ctr"/>
          <a:lstStyle>
            <a:lvl1pPr algn="ctr">
              <a:defRPr sz="3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7833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F37378-9CE3-46C1-80C8-30215DE1AF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" y="-905"/>
            <a:ext cx="6095094" cy="6858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4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7200" y="41108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00" y="1521184"/>
            <a:ext cx="5292000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2495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60000" y="0"/>
            <a:ext cx="853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104" y="1521184"/>
            <a:ext cx="2830327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2830327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66367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096001" y="4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90" y="1521184"/>
            <a:ext cx="5292112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AC999FBB-C1D6-4B26-85DA-C35A9AE89FC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179123" y="6332830"/>
            <a:ext cx="607829" cy="14818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1EF72B13-9B15-4498-BB43-905E33674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B395E17D-434D-496F-ACED-68402E0837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A5E2052B-5DD0-4BE1-B45C-38CD489F4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9E97861-81A0-48C0-8AEF-CACA7732E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0D779E3A-0123-49DB-8413-A23AC0E07A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4F51EF93-B585-496B-B94C-E8BE39852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7" name="Oval 11">
              <a:extLst>
                <a:ext uri="{FF2B5EF4-FFF2-40B4-BE49-F238E27FC236}">
                  <a16:creationId xmlns:a16="http://schemas.microsoft.com/office/drawing/2014/main" id="{781972F2-AA1F-442F-B2D7-23EDE922FF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8" name="Oval 12">
              <a:extLst>
                <a:ext uri="{FF2B5EF4-FFF2-40B4-BE49-F238E27FC236}">
                  <a16:creationId xmlns:a16="http://schemas.microsoft.com/office/drawing/2014/main" id="{BC311869-F154-41A1-AE1A-2BB4BC4455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0BD3BAD-FEE2-4A45-B755-5807997256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03B1CC70-8E47-4D3D-9382-CF481F7A9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110701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906" y="-1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0878" y="1521183"/>
            <a:ext cx="5292112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00" y="1521678"/>
            <a:ext cx="5292000" cy="44947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7200" y="41116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372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iles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6F170A-22F9-4C51-A3F5-C624133A8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406588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78A6CC2-2B2B-49B7-988E-7B29E9260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3059" y="1"/>
            <a:ext cx="4065882" cy="3428999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latin typeface="+mj-lt"/>
              </a:defRPr>
            </a:lvl1pPr>
            <a:lvl2pPr algn="ctr">
              <a:defRPr sz="2200" b="0"/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6AC9356-AA84-4F4C-B1FF-5212DBD301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6118" y="1"/>
            <a:ext cx="406588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0EEEBEF-05E3-4523-B510-9AB7EDBF07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6118" y="3429079"/>
            <a:ext cx="406588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8DD8EBF-71D9-4384-B696-89AB7269F1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059" y="3429079"/>
            <a:ext cx="4065882" cy="3428999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5"/>
                </a:solidFill>
                <a:latin typeface="+mj-lt"/>
              </a:defRPr>
            </a:lvl1pPr>
            <a:lvl2pPr algn="ctr">
              <a:defRPr sz="2200" b="0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B48325-C2CB-490C-BEC5-9F1DE6155C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429079"/>
            <a:ext cx="406588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9A526-7C09-4FE7-AB48-4E3DF8072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E0864-1815-47B8-8BBA-B0910E119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D78EFC-C516-4B8D-8CA7-6B33A2BD7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99053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>
          <a:gsLst>
            <a:gs pos="50000">
              <a:srgbClr val="00E487"/>
            </a:gs>
            <a:gs pos="100000">
              <a:srgbClr val="1ECBD0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FD4E276-C47D-4F97-8D9E-FECD172C97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835683" y="2634181"/>
            <a:ext cx="6520638" cy="1589645"/>
            <a:chOff x="2071" y="1578"/>
            <a:chExt cx="2587" cy="631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8587B0E-0CEF-4218-99CF-AE3634274F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526A929-E098-4073-8B92-F18ED8E1D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DF465AE-39A5-4B73-8576-41C66C06A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A4DA928-058C-40DF-A9B6-21272F81C6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DBE2736-4D16-47F2-8CC1-7353D5B14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990E525-4DF6-403E-9092-24C5DCE5B3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114B85E-E1BE-464E-8E28-ACA4300CA4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BA160C3-B4E4-4003-BFF3-28A6B0C1B0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0F26E6D7-1351-4C95-A3E8-FF86354A3C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DA6E6734-7A5F-4A76-946D-520C7807BB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39023167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8FDBE2B1-3DA3-43D4-9DC3-2E772835078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5508" y="685816"/>
            <a:ext cx="1880984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7FB346E6-4510-4BED-AA2E-6743A40A50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653ECA1-3AB4-47BE-A42E-29B1E3B7D8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D986EC0-5473-4884-81B3-875C9DA7C5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CEAC8C8C-A319-4A4F-95A2-5FFCE55E3A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F28C50EA-77B2-44BA-85E0-41720CE671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29C9869C-B6EC-4057-A952-E2CE4A44C3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5" name="Oval 11">
              <a:extLst>
                <a:ext uri="{FF2B5EF4-FFF2-40B4-BE49-F238E27FC236}">
                  <a16:creationId xmlns:a16="http://schemas.microsoft.com/office/drawing/2014/main" id="{873AF13F-0640-4C6D-8CAF-BB8A2322C1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6" name="Oval 12">
              <a:extLst>
                <a:ext uri="{FF2B5EF4-FFF2-40B4-BE49-F238E27FC236}">
                  <a16:creationId xmlns:a16="http://schemas.microsoft.com/office/drawing/2014/main" id="{982EC9D7-A8C0-4B37-9B60-32F310D917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7D1A8101-5969-46D3-86E7-3F858A377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3C52E1A8-F273-4077-90B8-12412F0A51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10719778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7455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6732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11368018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80" y="1521182"/>
            <a:ext cx="6178854" cy="451734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0121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1136801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80" y="1521182"/>
            <a:ext cx="6178854" cy="451734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accent3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6159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24CE919-A7C7-49EF-8CB7-9F5CE00A26F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282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6090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r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E019F4F3-4329-484A-96A3-B3A599B3BA7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282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643232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72080786-E399-4A97-AA01-14F60200E9F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282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87423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80" y="1521184"/>
            <a:ext cx="6178854" cy="3817442"/>
          </a:xfrm>
        </p:spPr>
        <p:txBody>
          <a:bodyPr anchor="ctr"/>
          <a:lstStyle>
            <a:lvl1pPr marL="0" indent="0">
              <a:buNone/>
              <a:defRPr sz="3000" b="0">
                <a:solidFill>
                  <a:schemeClr val="tx2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017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1521185"/>
            <a:ext cx="11368018" cy="3815631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00771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ght Gre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1521185"/>
            <a:ext cx="11368018" cy="3815631"/>
          </a:xfrm>
        </p:spPr>
        <p:txBody>
          <a:bodyPr anchor="ctr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19629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C9FB2DA8-4D6B-455E-8E80-67520B04D91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5508" y="685816"/>
            <a:ext cx="1880984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F798D9CB-93C5-4BA2-929A-2CDD20D9A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FCD076B7-6553-48C6-9C13-12A0A6B2D9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A4C76CEC-16C2-4E2B-8318-C92100B82A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7619E1B8-E4FD-4146-AF84-8F1DBB0AAB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FF9C5E1-8FFE-4C45-8CEC-68E52F3E5D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C321A392-CD70-4533-ACCC-383D8BB92B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5" name="Oval 11">
              <a:extLst>
                <a:ext uri="{FF2B5EF4-FFF2-40B4-BE49-F238E27FC236}">
                  <a16:creationId xmlns:a16="http://schemas.microsoft.com/office/drawing/2014/main" id="{C73A465C-03FB-40DA-A381-544599743F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6" name="Oval 12">
              <a:extLst>
                <a:ext uri="{FF2B5EF4-FFF2-40B4-BE49-F238E27FC236}">
                  <a16:creationId xmlns:a16="http://schemas.microsoft.com/office/drawing/2014/main" id="{9FFE5527-2DF9-4A01-9E29-E2A442B566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C27E165C-619B-4F48-8C43-C8AEBFD58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55BAEF4C-20E0-4F60-A41D-DA6C12A98B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248136903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3105" y="1521184"/>
            <a:ext cx="6176627" cy="3817442"/>
          </a:xfrm>
        </p:spPr>
        <p:txBody>
          <a:bodyPr anchor="ctr"/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614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20" y="1521184"/>
            <a:ext cx="6762580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8349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81" y="411083"/>
            <a:ext cx="1136801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20" y="1521184"/>
            <a:ext cx="6762580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56995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90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2250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4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411083"/>
            <a:ext cx="5292112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52356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" y="-1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7200" y="41108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00" y="1521184"/>
            <a:ext cx="5292000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09926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3429905"/>
            <a:ext cx="6095094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>
            <a:lvl1pPr>
              <a:defRPr sz="1597"/>
            </a:lvl1pPr>
            <a:lvl2pPr>
              <a:defRPr sz="1597"/>
            </a:lvl2pPr>
            <a:lvl3pPr>
              <a:defRPr sz="1597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906" y="4"/>
            <a:ext cx="6095094" cy="3429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3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215734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F37378-9CE3-46C1-80C8-30215DE1AF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6" y="-905"/>
            <a:ext cx="6095094" cy="6858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4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7200" y="41108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00" y="1521184"/>
            <a:ext cx="529200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32098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60000" y="0"/>
            <a:ext cx="853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104" y="1521184"/>
            <a:ext cx="2830327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2830327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27261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096001" y="4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90" y="1521184"/>
            <a:ext cx="5292112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4CBF1DDE-7DD3-4D1C-9B77-141EBB861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63612" y="6336092"/>
            <a:ext cx="612000" cy="1066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8596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80" y="1521184"/>
            <a:ext cx="6178854" cy="3817442"/>
          </a:xfrm>
        </p:spPr>
        <p:txBody>
          <a:bodyPr anchor="ctr"/>
          <a:lstStyle>
            <a:lvl1pPr marL="0" indent="0">
              <a:buNone/>
              <a:defRPr sz="3000" b="0">
                <a:solidFill>
                  <a:schemeClr val="tx2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736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906" y="-1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0878" y="1521183"/>
            <a:ext cx="5292112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50" y="1521678"/>
            <a:ext cx="5292000" cy="449473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7249" y="411163"/>
            <a:ext cx="529200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3123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iles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6F170A-22F9-4C51-A3F5-C624133A8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406588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78A6CC2-2B2B-49B7-988E-7B29E9260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3059" y="1"/>
            <a:ext cx="4065882" cy="3428999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latin typeface="+mj-lt"/>
              </a:defRPr>
            </a:lvl1pPr>
            <a:lvl2pPr algn="ctr">
              <a:defRPr sz="2200" b="0"/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6AC9356-AA84-4F4C-B1FF-5212DBD301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6118" y="1"/>
            <a:ext cx="406588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0EEEBEF-05E3-4523-B510-9AB7EDBF07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26118" y="3429079"/>
            <a:ext cx="406588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8DD8EBF-71D9-4384-B696-89AB7269F1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059" y="3429079"/>
            <a:ext cx="4065882" cy="3428999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solidFill>
                  <a:schemeClr val="accent5"/>
                </a:solidFill>
                <a:latin typeface="+mj-lt"/>
              </a:defRPr>
            </a:lvl1pPr>
            <a:lvl2pPr algn="ctr">
              <a:defRPr sz="2200" b="0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B48325-C2CB-490C-BEC5-9F1DE6155C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429079"/>
            <a:ext cx="406588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1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9A526-7C09-4FE7-AB48-4E3DF8072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E0864-1815-47B8-8BBA-B0910E119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D78EFC-C516-4B8D-8CA7-6B33A2BD7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36490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BA983841-2E67-4BBE-85F6-5824A21EE1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841600" y="2861916"/>
            <a:ext cx="6508800" cy="1134169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468500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BA983841-2E67-4BBE-85F6-5824A21EE1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841600" y="2861916"/>
            <a:ext cx="6508800" cy="1134169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92883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9324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20169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1" cy="3245724"/>
          </a:xfrm>
        </p:spPr>
        <p:txBody>
          <a:bodyPr anchor="ctr"/>
          <a:lstStyle>
            <a:lvl1pPr algn="ctr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8F869F46-098E-40E7-8BBE-A2BB1CDE06F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82788" y="411163"/>
            <a:ext cx="2826424" cy="396000"/>
            <a:chOff x="0" y="1622"/>
            <a:chExt cx="7680" cy="1076"/>
          </a:xfrm>
          <a:solidFill>
            <a:schemeClr val="tx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A3EE1E7C-2EB2-4210-BB5A-9E018E2349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3C16D21-72E5-46B0-8CC0-4B3CD95935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D9C247EA-B9C8-4819-BE22-2C1BAA954E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99AEA120-CF54-48F5-BF11-5391371ECA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38DF2852-0A8E-49FE-BDD2-2B742DE984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2B752DEC-79E9-4690-A0A0-3FBBBA423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7AE7A572-E336-4C83-BDA6-9B0E52C1C0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005E76D6-C2C1-494C-9CF4-E975FD4C9C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B21D3D1A-E9E0-4884-884F-492A6AB4F2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D4874F0E-D8D1-4B21-B17D-6C8BFFACB2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09F13DA2-ACD8-46BB-AFA6-FB20A53BBE3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0FCE92F8-0CB6-4C7E-95FD-BEDB676C1A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D191AE23-8810-45AE-BD8E-C77B7ADF0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AB398A49-2CB9-4E19-A099-5B122098B9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BE9E44D5-5494-48E0-BB90-6119119C65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602662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80" y="1521184"/>
            <a:ext cx="7482544" cy="3817442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4400" b="0">
                <a:solidFill>
                  <a:schemeClr val="tx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4555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1521185"/>
            <a:ext cx="11368018" cy="3815631"/>
          </a:xfrm>
        </p:spPr>
        <p:txBody>
          <a:bodyPr anchor="ctr"/>
          <a:lstStyle>
            <a:lvl1pPr algn="ctr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F538CC8B-F600-49B9-BACD-7C6B0F9080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850" y="633093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A8F06AD-208A-43F1-A692-7FB2E8859E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6443EC75-623B-4F49-9EA2-528791C330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5165FC24-6365-4B11-8A8E-7A386F1F5E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E9E9765-C4A7-4AE7-AB5D-1A96163779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CD0EE75A-243D-4719-AEF0-806CC01C4D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4B7C3482-76AC-4362-BB17-D64AE7D11A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2CBF6DDD-FC53-448D-8FE3-3874132ACC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85CC6B60-4314-474F-8B72-AC2A2D1BF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073F103A-3BAD-4949-BC8C-4D3B44CF46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Rectangle 14">
              <a:extLst>
                <a:ext uri="{FF2B5EF4-FFF2-40B4-BE49-F238E27FC236}">
                  <a16:creationId xmlns:a16="http://schemas.microsoft.com/office/drawing/2014/main" id="{691E8977-F608-470D-BB8D-231F71C8B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D25AF574-BBEF-4E01-9B8E-2C473DA9DD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1C09DDCC-EB70-4769-B64E-DD48AEFF3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7DF73D43-5DF0-442D-9B4D-9D2A4E809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B9651F69-F468-4413-9453-0A0A21149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7FAC0AC2-6A7D-4FE9-999C-DEC5EA07D1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5222167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F531DBA6-9C21-4EFC-9D99-C142DD7BC5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850" y="633093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E3A63CBD-692C-478F-BACD-8B0D1849FF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963E2CA8-1F02-4F96-B4D4-FEFB6C2270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38B204D6-D354-45FB-B6FD-62A4072CE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C351C69-0634-4E8F-88D1-FF6F43009C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E57E84E7-25CC-4AB4-BF6D-BA6223B0CA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05DA7E05-A706-46A5-9865-2DF81E625F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2734E26B-D7B5-47AB-93E8-409B6614B4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7E1B3A85-079F-4992-80B2-3352761788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4C3D14E-A4C2-4F48-B397-FE3811D6FF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Rectangle 14">
              <a:extLst>
                <a:ext uri="{FF2B5EF4-FFF2-40B4-BE49-F238E27FC236}">
                  <a16:creationId xmlns:a16="http://schemas.microsoft.com/office/drawing/2014/main" id="{BCC64368-444D-4BC9-AACD-4234858F6F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4B2867E3-DDA3-41E2-91A4-645678CC42F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EC222D36-7AF5-4738-9655-15F5992F1B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4C0D53D0-6590-47EA-A163-46D76FB829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428C190E-86C4-4F98-84B4-89A96F5F7E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DD2C009D-DFCA-4C9E-A006-65C1ED9A8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3105" y="1521184"/>
            <a:ext cx="6176627" cy="3817442"/>
          </a:xfr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44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2440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1521185"/>
            <a:ext cx="11368018" cy="3815631"/>
          </a:xfrm>
        </p:spPr>
        <p:txBody>
          <a:bodyPr anchor="ctr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11687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19" y="1521184"/>
            <a:ext cx="7699205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8541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81" y="411083"/>
            <a:ext cx="1136801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19" y="1521184"/>
            <a:ext cx="7699205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29DCF2F7-ED91-4CF8-BCD4-D0C068C3857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850" y="633093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5CFBDCF1-BBDE-4470-B02B-1B517340AE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0FD44A24-E293-46BE-B4EC-95369CEA93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DB94DBE4-95DD-4C25-BC05-00983FE00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5D69084C-8A2C-4F56-840C-854C059404A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A8335D12-BE1F-47FC-B1B1-D38E41B65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Rectangle 10">
              <a:extLst>
                <a:ext uri="{FF2B5EF4-FFF2-40B4-BE49-F238E27FC236}">
                  <a16:creationId xmlns:a16="http://schemas.microsoft.com/office/drawing/2014/main" id="{6AFD345D-B4DD-470E-B648-6430D05E93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0B0B3A75-1A0A-49AC-9816-77E1B29B64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837B2D43-A683-41AF-A149-31D567B81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36D3F44B-8A34-4F65-B4C2-45A83E2610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Rectangle 14">
              <a:extLst>
                <a:ext uri="{FF2B5EF4-FFF2-40B4-BE49-F238E27FC236}">
                  <a16:creationId xmlns:a16="http://schemas.microsoft.com/office/drawing/2014/main" id="{5813B57B-8CF6-4EEC-9651-47D6CF8CC7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34A7EF8C-46FC-41E4-90DA-42120BB10F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C43A1BEA-9B0C-4B2A-8B81-8019FB05F5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99870025-A3B4-48B1-B961-5C894CD455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224AEEDD-2A83-4415-9986-24467BC3A2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39EC7CAA-F510-4C69-B067-D6E6838758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517331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85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9581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4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411083"/>
            <a:ext cx="5292112" cy="77603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915063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" y="-1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7250" y="411791"/>
            <a:ext cx="5292000" cy="77603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7250" y="1521892"/>
            <a:ext cx="5292000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81789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3429905"/>
            <a:ext cx="6095094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906" y="4"/>
            <a:ext cx="6095094" cy="3429905"/>
          </a:xfrm>
          <a:solidFill>
            <a:schemeClr val="tx1"/>
          </a:solidFill>
        </p:spPr>
        <p:txBody>
          <a:bodyPr lIns="360000" tIns="360000" rIns="360000" bIns="360000" anchor="ctr"/>
          <a:lstStyle>
            <a:lvl1pPr algn="ctr">
              <a:defRPr sz="3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8A7491F-1E1B-44B3-B411-C2B74C75C2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31734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48000" y="0"/>
            <a:ext cx="8244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104" y="1521184"/>
            <a:ext cx="3340850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3340850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69959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096001" y="4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4"/>
            <a:ext cx="5292112" cy="449473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90" y="1521184"/>
            <a:ext cx="5292112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410669"/>
            <a:ext cx="5292111" cy="776038"/>
          </a:xfrm>
        </p:spPr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0601B898-2CB9-45B9-BA39-02DE943F254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850" y="633093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43229534-A589-4F34-81F7-9CE4070AB4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9DEF8685-7AD2-48A8-B69C-9763D07F43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9B0FF649-6ED2-4D2F-86B1-0A1FD3EF77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C1642DF5-C451-4865-9165-6CE3392508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DF463569-06AA-4F45-B219-4017423B87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9DE51780-53C6-45F1-8E8B-D935D29A68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87FB53A8-C8F7-43CE-A8C3-9B4F3426ED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31DD79B2-FBD1-403A-A383-FAF521974C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9AD7E08-BB9F-4E88-AB2E-8761F8BA23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Rectangle 14">
              <a:extLst>
                <a:ext uri="{FF2B5EF4-FFF2-40B4-BE49-F238E27FC236}">
                  <a16:creationId xmlns:a16="http://schemas.microsoft.com/office/drawing/2014/main" id="{E4C38675-2FFC-4DAB-8E7E-4313BA840B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724819DA-168C-4FDF-904B-A8901991A9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C75CEB69-F788-4262-ABDA-476B429CC9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583E25A-DC66-4F63-AF51-B586E18EB7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06369091-6A79-4886-A89E-5D39AA36E0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3C4C6ED6-7F46-4A92-99EF-1F1DC26BF7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133164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906" y="-1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0878" y="1521183"/>
            <a:ext cx="5292112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442" y="1521183"/>
            <a:ext cx="5292000" cy="449473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7250" y="411163"/>
            <a:ext cx="5292000" cy="77603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25148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4">
            <a:extLst>
              <a:ext uri="{FF2B5EF4-FFF2-40B4-BE49-F238E27FC236}">
                <a16:creationId xmlns:a16="http://schemas.microsoft.com/office/drawing/2014/main" id="{B725D07D-06C0-459D-857E-391302C20C8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468000" y="3060800"/>
            <a:ext cx="5256000" cy="736399"/>
            <a:chOff x="0" y="1622"/>
            <a:chExt cx="7680" cy="1076"/>
          </a:xfrm>
          <a:solidFill>
            <a:schemeClr val="bg1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1BF17F4-6979-4E8A-A4E9-43502326D6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83EE2477-A1D5-47D2-A28D-D441999582C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993236D5-14AB-44B6-90BF-AD61694E44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9773CA7-EBE5-4889-A39A-9545F2E6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18BEB8AE-4D8A-4C90-B4CF-9BA47A0F5C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D6F3A163-D040-4324-977A-7456CD8A42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726C14BA-010A-4383-BBF7-EB7534B541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DED85E77-F8F2-4161-9BB8-0F59AD977F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79C6382-FCA3-4083-8AFE-BA95CD2D4A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45969A8B-EB28-489A-ADFF-B513470A39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1733E594-B7EE-4279-AAB3-4B762AE2AD4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35346133-A6F0-4888-8448-CAF15A08EB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873EB7-DDD8-4C36-9734-50B8BA40AC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D848509E-F084-4903-ADBE-322A47D220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DAEE2787-328D-4F8F-8A89-76715F69F5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8487129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ght Gre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9" y="1521185"/>
            <a:ext cx="11368018" cy="3815631"/>
          </a:xfrm>
        </p:spPr>
        <p:txBody>
          <a:bodyPr anchor="ctr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35005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55161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895343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1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22155851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643077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286779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47049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334790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256604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49446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656667" cy="68519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7915" y="507999"/>
            <a:ext cx="5376069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27915" y="1623483"/>
            <a:ext cx="6193104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689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3105" y="1521184"/>
            <a:ext cx="6176627" cy="3817442"/>
          </a:xfrm>
        </p:spPr>
        <p:txBody>
          <a:bodyPr anchor="ctr"/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340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35333" y="0"/>
            <a:ext cx="4656667" cy="68519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6047433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4"/>
            <a:ext cx="6047435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7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65834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" y="1623483"/>
            <a:ext cx="7542507" cy="461433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29529" y="1623483"/>
            <a:ext cx="3691488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66869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70157" y="1623484"/>
            <a:ext cx="7521844" cy="46143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3"/>
            <a:ext cx="3676757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35898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73100" y="1623485"/>
            <a:ext cx="5088467" cy="31285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432551" y="1623485"/>
            <a:ext cx="5088467" cy="31285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3100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32551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01103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925790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227603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7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1871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2415659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29655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80518A-9ACF-8844-AFD1-AB184AC65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2337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20" y="1521184"/>
            <a:ext cx="6762580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03471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3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0"/>
            <a:ext cx="4656667" cy="68580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3334" y="1625597"/>
            <a:ext cx="3801533" cy="42506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51428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7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5" y="0"/>
            <a:ext cx="4656667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52002" y="1625600"/>
            <a:ext cx="3820897" cy="4251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DD6326-33BA-4174-807D-738A31A700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651658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1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245103"/>
            <a:ext cx="12192000" cy="16129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3100" y="5624422"/>
            <a:ext cx="10847917" cy="869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5C95AE-299F-431B-AB66-08FC9F22E3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77386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3100" y="323940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EFB6CD9-7626-429B-A638-CA2C3907F2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85912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9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41017" y="99822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6A7725E-E42D-449C-A552-89E34F170F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80013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3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5942" y="1264357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588949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7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2" y="1264358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659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">
          <p15:clr>
            <a:srgbClr val="FBAE40"/>
          </p15:clr>
        </p15:guide>
        <p15:guide id="2" orient="horz" pos="712">
          <p15:clr>
            <a:srgbClr val="FBAE40"/>
          </p15:clr>
        </p15:guide>
        <p15:guide id="3" pos="7596">
          <p15:clr>
            <a:srgbClr val="FBAE40"/>
          </p15:clr>
        </p15:guide>
        <p15:guide id="4" orient="horz" pos="524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1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1721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">
          <p15:clr>
            <a:srgbClr val="FBAE40"/>
          </p15:clr>
        </p15:guide>
        <p15:guide id="2" pos="7595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5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40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">
          <p15:clr>
            <a:srgbClr val="FBAE40"/>
          </p15:clr>
        </p15:guide>
        <p15:guide id="2" pos="7595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9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3815" y="1264358"/>
            <a:ext cx="3592245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7932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">
          <p15:clr>
            <a:srgbClr val="FBAE40"/>
          </p15:clr>
        </p15:guide>
        <p15:guide id="2" pos="7595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81" y="411083"/>
            <a:ext cx="1136801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2920" y="1521184"/>
            <a:ext cx="6762580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8907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3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1" y="4704080"/>
            <a:ext cx="5089496" cy="15951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9147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">
          <p15:clr>
            <a:srgbClr val="FBAE40"/>
          </p15:clr>
        </p15:guide>
        <p15:guide id="2" pos="7595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17471" y="2447784"/>
            <a:ext cx="1526003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895164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43339" y="6237312"/>
            <a:ext cx="1190532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1" tIns="54420" rIns="108841" bIns="54420" rtlCol="0" anchor="ctr"/>
          <a:lstStyle/>
          <a:p>
            <a:pPr algn="ctr"/>
            <a:endParaRPr lang="en-US" sz="3200" dirty="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471" y="2447783"/>
            <a:ext cx="1526003" cy="193993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3095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theme" Target="../theme/theme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879" y="410669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79" y="1521182"/>
            <a:ext cx="11368018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910" y="6332830"/>
            <a:ext cx="1194866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368" y="6332830"/>
            <a:ext cx="478440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0882" y="6332830"/>
            <a:ext cx="507262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1904BA4D-1AFB-42A4-8284-784441CF6C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179123" y="6332830"/>
            <a:ext cx="607829" cy="14818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AE554E6-16CB-4176-987F-3AF6305F7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EC65459-58EA-4F3D-8A43-721FE0A15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7EF15D6C-5F12-4679-A3CE-298E60CFD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D6A478E-FCAF-4573-B967-7423B97A02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C7B044FD-45A1-41D4-8002-87E2B5931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B96B058D-5136-4262-807A-F14DDE4EC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8" name="Oval 11">
              <a:extLst>
                <a:ext uri="{FF2B5EF4-FFF2-40B4-BE49-F238E27FC236}">
                  <a16:creationId xmlns:a16="http://schemas.microsoft.com/office/drawing/2014/main" id="{67E362B8-97A1-4111-B148-BAE052A1BF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9" name="Oval 12">
              <a:extLst>
                <a:ext uri="{FF2B5EF4-FFF2-40B4-BE49-F238E27FC236}">
                  <a16:creationId xmlns:a16="http://schemas.microsoft.com/office/drawing/2014/main" id="{4301693B-28CB-4C5D-8F2B-69A579B76B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52D918BE-ADC1-4568-88E2-AF8C3F391F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C865BE1B-431D-42EE-838F-6181568C2D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</p:grpSp>
      <p:sp>
        <p:nvSpPr>
          <p:cNvPr id="7" name="MSIPCMContentMarking" descr="{&quot;HashCode&quot;:-1127957265,&quot;Placement&quot;:&quot;Header&quot;}">
            <a:extLst>
              <a:ext uri="{FF2B5EF4-FFF2-40B4-BE49-F238E27FC236}">
                <a16:creationId xmlns:a16="http://schemas.microsoft.com/office/drawing/2014/main" id="{1DEE8B09-44BC-4682-806B-65172FDD046E}"/>
              </a:ext>
            </a:extLst>
          </p:cNvPr>
          <p:cNvSpPr txBox="1"/>
          <p:nvPr userDrawn="1"/>
        </p:nvSpPr>
        <p:spPr>
          <a:xfrm>
            <a:off x="0" y="0"/>
            <a:ext cx="165516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Signify Classified - Internal</a:t>
            </a:r>
            <a:endParaRPr lang="en-150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91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2" r:id="rId2"/>
    <p:sldLayoutId id="2147483683" r:id="rId3"/>
    <p:sldLayoutId id="2147483663" r:id="rId4"/>
    <p:sldLayoutId id="2147483672" r:id="rId5"/>
    <p:sldLayoutId id="2147483684" r:id="rId6"/>
    <p:sldLayoutId id="2147483680" r:id="rId7"/>
    <p:sldLayoutId id="2147483662" r:id="rId8"/>
    <p:sldLayoutId id="2147483681" r:id="rId9"/>
    <p:sldLayoutId id="2147483664" r:id="rId10"/>
    <p:sldLayoutId id="2147483673" r:id="rId11"/>
    <p:sldLayoutId id="2147483674" r:id="rId12"/>
    <p:sldLayoutId id="2147483675" r:id="rId13"/>
    <p:sldLayoutId id="2147483686" r:id="rId14"/>
    <p:sldLayoutId id="2147483676" r:id="rId15"/>
    <p:sldLayoutId id="2147483677" r:id="rId16"/>
    <p:sldLayoutId id="2147483678" r:id="rId17"/>
    <p:sldLayoutId id="2147483685" r:id="rId18"/>
    <p:sldLayoutId id="2147483679" r:id="rId19"/>
    <p:sldLayoutId id="2147483666" r:id="rId20"/>
    <p:sldLayoutId id="2147483667" r:id="rId21"/>
    <p:sldLayoutId id="2147483787" r:id="rId22"/>
    <p:sldLayoutId id="2147483788" r:id="rId23"/>
  </p:sldLayoutIdLst>
  <p:transition>
    <p:fade/>
  </p:transition>
  <p:hf sldNum="0" hdr="0" ftr="0" dt="0"/>
  <p:txStyles>
    <p:titleStyle>
      <a:lvl1pPr algn="l" defTabSz="1042512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b="0" kern="1200">
          <a:solidFill>
            <a:schemeClr val="tx2"/>
          </a:solidFill>
          <a:latin typeface="Signify Relative Bold" panose="02000806030000020004" pitchFamily="50" charset="0"/>
          <a:ea typeface="+mn-ea"/>
          <a:cs typeface="+mn-cs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accent5"/>
          </a:solidFill>
          <a:latin typeface="+mn-lt"/>
          <a:ea typeface="+mn-ea"/>
          <a:cs typeface="+mn-cs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0" userDrawn="1">
          <p15:clr>
            <a:srgbClr val="F26B43"/>
          </p15:clr>
        </p15:guide>
        <p15:guide id="4" pos="7420" userDrawn="1">
          <p15:clr>
            <a:srgbClr val="F26B43"/>
          </p15:clr>
        </p15:guide>
        <p15:guide id="5" orient="horz" pos="259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orient="horz" pos="3989" userDrawn="1">
          <p15:clr>
            <a:srgbClr val="F26B43"/>
          </p15:clr>
        </p15:guide>
        <p15:guide id="8" orient="horz" pos="379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879" y="410669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79" y="1521182"/>
            <a:ext cx="11368018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910" y="6332830"/>
            <a:ext cx="1194866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368" y="6332830"/>
            <a:ext cx="478440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0882" y="6332830"/>
            <a:ext cx="507262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932C11A5-A03B-4075-B595-9FA95A8BD6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163612" y="6336092"/>
            <a:ext cx="612000" cy="1066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MSIPCMContentMarking" descr="{&quot;HashCode&quot;:-1127957265,&quot;Placement&quot;:&quot;Header&quot;}">
            <a:extLst>
              <a:ext uri="{FF2B5EF4-FFF2-40B4-BE49-F238E27FC236}">
                <a16:creationId xmlns:a16="http://schemas.microsoft.com/office/drawing/2014/main" id="{DF70A293-7BC5-42BC-A239-E540A0F74ACE}"/>
              </a:ext>
            </a:extLst>
          </p:cNvPr>
          <p:cNvSpPr txBox="1"/>
          <p:nvPr userDrawn="1"/>
        </p:nvSpPr>
        <p:spPr>
          <a:xfrm>
            <a:off x="0" y="0"/>
            <a:ext cx="165516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Signify Classified - Internal</a:t>
            </a:r>
            <a:endParaRPr lang="en-150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18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</p:sldLayoutIdLst>
  <p:transition>
    <p:fade/>
  </p:transition>
  <p:hf sldNum="0" hdr="0" ftr="0" dt="0"/>
  <p:txStyles>
    <p:titleStyle>
      <a:lvl1pPr algn="l" defTabSz="1042512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b="0" kern="1200">
          <a:solidFill>
            <a:schemeClr val="tx2"/>
          </a:solidFill>
          <a:latin typeface="Signify Relative Bold" panose="02000806030000020004" pitchFamily="50" charset="0"/>
          <a:ea typeface="+mn-ea"/>
          <a:cs typeface="+mn-cs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accent5"/>
          </a:solidFill>
          <a:latin typeface="+mn-lt"/>
          <a:ea typeface="+mn-ea"/>
          <a:cs typeface="+mn-cs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0">
          <p15:clr>
            <a:srgbClr val="F26B43"/>
          </p15:clr>
        </p15:guide>
        <p15:guide id="3" pos="260">
          <p15:clr>
            <a:srgbClr val="F26B43"/>
          </p15:clr>
        </p15:guide>
        <p15:guide id="4" pos="7420">
          <p15:clr>
            <a:srgbClr val="F26B43"/>
          </p15:clr>
        </p15:guide>
        <p15:guide id="5" orient="horz" pos="25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89">
          <p15:clr>
            <a:srgbClr val="F26B43"/>
          </p15:clr>
        </p15:guide>
        <p15:guide id="8" orient="horz" pos="379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879" y="410669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79" y="1521182"/>
            <a:ext cx="11368018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910" y="6332830"/>
            <a:ext cx="1194866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368" y="6332830"/>
            <a:ext cx="478440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0882" y="6332830"/>
            <a:ext cx="507262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5B8134DB-A8C2-4E81-8AE1-923CCD50B69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432850" y="6330937"/>
            <a:ext cx="1346400" cy="188639"/>
            <a:chOff x="0" y="1622"/>
            <a:chExt cx="7680" cy="1076"/>
          </a:xfrm>
          <a:solidFill>
            <a:schemeClr val="tx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1C914F38-7391-4125-9EBB-90D545A14D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D2C1C3AD-5877-4211-8B98-0118B501CB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8162402E-6173-4B7E-9508-BD1D30AA7E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720A2039-3F7C-4D05-A0A2-24EB50AC50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5306C40F-EB9D-4A40-94F5-AA8243CC0E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10">
              <a:extLst>
                <a:ext uri="{FF2B5EF4-FFF2-40B4-BE49-F238E27FC236}">
                  <a16:creationId xmlns:a16="http://schemas.microsoft.com/office/drawing/2014/main" id="{9ED9191C-1524-47EB-A75D-ADCF3CC1B2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1C9AC858-EBCE-4646-A3E7-8EF43EF4B9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6DC829C8-8E2B-4048-A182-90E4A649B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0794883E-CEF5-4DEE-A5B7-2C5E3042DF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9" name="Rectangle 14">
              <a:extLst>
                <a:ext uri="{FF2B5EF4-FFF2-40B4-BE49-F238E27FC236}">
                  <a16:creationId xmlns:a16="http://schemas.microsoft.com/office/drawing/2014/main" id="{59E0625E-B331-4799-B210-DA885FAA01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476937B9-6866-4A77-96CD-5873A08825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77873E51-7147-4F48-B2BF-3906C2465D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2E67FC8D-2C9A-4035-B791-CE50093680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3" name="Freeform 18">
              <a:extLst>
                <a:ext uri="{FF2B5EF4-FFF2-40B4-BE49-F238E27FC236}">
                  <a16:creationId xmlns:a16="http://schemas.microsoft.com/office/drawing/2014/main" id="{48CCA399-B5B4-4E88-8297-0959871846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 19">
              <a:extLst>
                <a:ext uri="{FF2B5EF4-FFF2-40B4-BE49-F238E27FC236}">
                  <a16:creationId xmlns:a16="http://schemas.microsoft.com/office/drawing/2014/main" id="{19DCE4FC-BFCB-40F1-BB85-91F645EEB1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MSIPCMContentMarking" descr="{&quot;HashCode&quot;:-1127957265,&quot;Placement&quot;:&quot;Header&quot;}">
            <a:extLst>
              <a:ext uri="{FF2B5EF4-FFF2-40B4-BE49-F238E27FC236}">
                <a16:creationId xmlns:a16="http://schemas.microsoft.com/office/drawing/2014/main" id="{5A02AD14-3B89-43AC-A59A-CDEFC15AFA38}"/>
              </a:ext>
            </a:extLst>
          </p:cNvPr>
          <p:cNvSpPr txBox="1"/>
          <p:nvPr userDrawn="1"/>
        </p:nvSpPr>
        <p:spPr>
          <a:xfrm>
            <a:off x="0" y="0"/>
            <a:ext cx="165516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Signify Classified - Internal</a:t>
            </a:r>
            <a:endParaRPr lang="en-150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465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</p:sldLayoutIdLst>
  <p:transition>
    <p:fade/>
  </p:transition>
  <p:hf sldNum="0" hdr="0" ftr="0" dt="0"/>
  <p:txStyles>
    <p:titleStyle>
      <a:lvl1pPr algn="l" defTabSz="1042512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41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41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0">
          <p15:clr>
            <a:srgbClr val="F26B43"/>
          </p15:clr>
        </p15:guide>
        <p15:guide id="3" pos="260">
          <p15:clr>
            <a:srgbClr val="F26B43"/>
          </p15:clr>
        </p15:guide>
        <p15:guide id="4" pos="7420">
          <p15:clr>
            <a:srgbClr val="F26B43"/>
          </p15:clr>
        </p15:guide>
        <p15:guide id="5" orient="horz" pos="25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89">
          <p15:clr>
            <a:srgbClr val="F26B43"/>
          </p15:clr>
        </p15:guide>
        <p15:guide id="8" orient="horz" pos="379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9313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0972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3102" y="6512606"/>
            <a:ext cx="958356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827" y="6485813"/>
            <a:ext cx="266631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MSIPCMContentMarking" descr="{&quot;HashCode&quot;:-1127957265,&quot;Placement&quot;:&quot;Header&quot;}">
            <a:extLst>
              <a:ext uri="{FF2B5EF4-FFF2-40B4-BE49-F238E27FC236}">
                <a16:creationId xmlns:a16="http://schemas.microsoft.com/office/drawing/2014/main" id="{25A36252-69B7-41F4-B639-0DAD45458BAE}"/>
              </a:ext>
            </a:extLst>
          </p:cNvPr>
          <p:cNvSpPr txBox="1"/>
          <p:nvPr userDrawn="1"/>
        </p:nvSpPr>
        <p:spPr>
          <a:xfrm>
            <a:off x="0" y="0"/>
            <a:ext cx="165516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Calibri" panose="020F0502020204030204" pitchFamily="34" charset="0"/>
              </a:rPr>
              <a:t>Signify Classified - Internal</a:t>
            </a:r>
            <a:endParaRPr lang="en-150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013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</p:sldLayoutIdLst>
  <p:hf sldNum="0" hdr="0" ftr="0" dt="0"/>
  <p:txStyles>
    <p:titleStyle>
      <a:lvl1pPr algn="l" defTabSz="1219139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895" indent="-21589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26709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73010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2460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35543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3">
          <p15:clr>
            <a:srgbClr val="000000"/>
          </p15:clr>
        </p15:guide>
        <p15:guide id="2" pos="7257">
          <p15:clr>
            <a:srgbClr val="000000"/>
          </p15:clr>
        </p15:guide>
        <p15:guide id="3" pos="6743">
          <p15:clr>
            <a:srgbClr val="000000"/>
          </p15:clr>
        </p15:guide>
        <p15:guide id="4" orient="horz" pos="316">
          <p15:clr>
            <a:srgbClr val="000000"/>
          </p15:clr>
        </p15:guide>
        <p15:guide id="5" orient="horz" pos="920">
          <p15:clr>
            <a:srgbClr val="000000"/>
          </p15:clr>
        </p15:guide>
        <p15:guide id="6" orient="horz" pos="1011">
          <p15:clr>
            <a:srgbClr val="000000"/>
          </p15:clr>
        </p15:guide>
        <p15:guide id="7" orient="horz" pos="3944">
          <p15:clr>
            <a:srgbClr val="000000"/>
          </p15:clr>
        </p15:guide>
        <p15:guide id="8" pos="4052">
          <p15:clr>
            <a:srgbClr val="000000"/>
          </p15:clr>
        </p15:guide>
        <p15:guide id="10" pos="3840">
          <p15:clr>
            <a:srgbClr val="000000"/>
          </p15:clr>
        </p15:guide>
        <p15:guide id="11" pos="3628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5134A239-6DF9-43D7-AF57-5613558A2D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EA05366-2E03-42B0-969A-CD477BB5EA9A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r-FR" sz="1800" dirty="0" err="1">
              <a:solidFill>
                <a:schemeClr val="bg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77DF02F-431B-4C86-90C4-AF1F8EBFFA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3000" dirty="0">
                <a:solidFill>
                  <a:schemeClr val="bg1"/>
                </a:solidFill>
              </a:rPr>
              <a:t>Koncepcja iluminacji mostu w ciągu drogi powiatowej </a:t>
            </a:r>
            <a:br>
              <a:rPr lang="pl-PL" sz="3000" dirty="0"/>
            </a:br>
            <a:r>
              <a:rPr lang="pl-PL" sz="3000" dirty="0"/>
              <a:t>NR 3090P W M. LĄD</a:t>
            </a:r>
            <a:br>
              <a:rPr lang="en-NL" sz="4000" dirty="0">
                <a:solidFill>
                  <a:schemeClr val="bg1"/>
                </a:solidFill>
              </a:rPr>
            </a:br>
            <a:endParaRPr lang="fr-FR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29C44CD-68D9-45ED-B8DE-9BE34A2FD7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dirty="0"/>
              <a:t>Przemysław Wronowski</a:t>
            </a:r>
            <a:r>
              <a:rPr lang="en-US" dirty="0"/>
              <a:t>– </a:t>
            </a:r>
            <a:r>
              <a:rPr lang="pl-PL" dirty="0"/>
              <a:t>16.02.2022</a:t>
            </a:r>
            <a:endParaRPr lang="fr-FR" dirty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3F32FD22-13F4-4BD4-AA09-754CDDA643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55508" y="685816"/>
            <a:ext cx="1880984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42411C4-CA86-4EAB-A249-3E80CA4A1C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B568AC2E-8543-49B7-B181-1946122F51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8F1CF450-FAD5-4926-8F58-0078BD432E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907C9B8A-06B2-4ACB-AEC7-0D960A4CD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FFE766F-6563-4F59-8975-E2E20EBB8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B6C2D4BC-A239-4755-A417-475D63493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5" name="Oval 11">
              <a:extLst>
                <a:ext uri="{FF2B5EF4-FFF2-40B4-BE49-F238E27FC236}">
                  <a16:creationId xmlns:a16="http://schemas.microsoft.com/office/drawing/2014/main" id="{E7DB5A7A-9103-461D-9D4E-383D559F0D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6" name="Oval 12">
              <a:extLst>
                <a:ext uri="{FF2B5EF4-FFF2-40B4-BE49-F238E27FC236}">
                  <a16:creationId xmlns:a16="http://schemas.microsoft.com/office/drawing/2014/main" id="{4A3300B0-1E69-4E10-AA61-38DA6F20A3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90FABC0C-97BA-44A2-BD8C-7E137E4683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C5F00A7D-6442-4601-A095-771C73BBD7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259706399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40DD45-D239-4568-88CB-CCF4FF4B5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D84B976-FCE6-412D-B5DD-8C47270B357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70B8E645-EC6F-41B7-B4D5-A43CCCA0B9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989" y="0"/>
            <a:ext cx="88660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0927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40DD45-D239-4568-88CB-CCF4FF4B5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D84B976-FCE6-412D-B5DD-8C47270B357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43E8BF74-2A56-40CF-A564-B377E5599E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989" y="1588"/>
            <a:ext cx="88660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8764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E40DD45-D239-4568-88CB-CCF4FF4B5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9D84B976-FCE6-412D-B5DD-8C47270B357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60432A3A-8B6F-41FB-8AEC-86325AEDDB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989" y="0"/>
            <a:ext cx="88660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83011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016A69-1F0B-41F8-8195-97DA6A632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B764F72D-4BD8-4B28-8230-8689879EA77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8ADEFFA6-0218-4974-AE73-8AB5203A65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2179" y="1588"/>
            <a:ext cx="5929822" cy="6858000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C9E59DB9-03EF-49B0-9210-DC4B7FC8A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220" y="0"/>
            <a:ext cx="62643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94485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00F8A3D-7F10-4BAB-93F8-A4DC729B57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Zestawienie głównych materiałów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3DA48B-FA27-4A41-A160-0E67EB0A7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944FEE45-5A25-4A87-AA6D-922AE9339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220" y="0"/>
            <a:ext cx="5231780" cy="6858000"/>
          </a:xfrm>
          <a:prstGeom prst="rect">
            <a:avLst/>
          </a:prstGeom>
        </p:spPr>
      </p:pic>
      <p:graphicFrame>
        <p:nvGraphicFramePr>
          <p:cNvPr id="11" name="Tabela 10">
            <a:extLst>
              <a:ext uri="{FF2B5EF4-FFF2-40B4-BE49-F238E27FC236}">
                <a16:creationId xmlns:a16="http://schemas.microsoft.com/office/drawing/2014/main" id="{79DEDE5D-CA3F-4423-B979-4BFDD287C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4352956"/>
              </p:ext>
            </p:extLst>
          </p:nvPr>
        </p:nvGraphicFramePr>
        <p:xfrm>
          <a:off x="410878" y="2003655"/>
          <a:ext cx="3797228" cy="1807028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2840111">
                  <a:extLst>
                    <a:ext uri="{9D8B030D-6E8A-4147-A177-3AD203B41FA5}">
                      <a16:colId xmlns:a16="http://schemas.microsoft.com/office/drawing/2014/main" val="2628900280"/>
                    </a:ext>
                  </a:extLst>
                </a:gridCol>
                <a:gridCol w="957117">
                  <a:extLst>
                    <a:ext uri="{9D8B030D-6E8A-4147-A177-3AD203B41FA5}">
                      <a16:colId xmlns:a16="http://schemas.microsoft.com/office/drawing/2014/main" val="3208495627"/>
                    </a:ext>
                  </a:extLst>
                </a:gridCol>
              </a:tblGrid>
              <a:tr h="451757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dukt</a:t>
                      </a:r>
                      <a:endParaRPr lang="pl-PL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lość [szt.]</a:t>
                      </a:r>
                      <a:endParaRPr lang="pl-PL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47418740"/>
                  </a:ext>
                </a:extLst>
              </a:tr>
              <a:tr h="451757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ya </a:t>
                      </a:r>
                      <a:r>
                        <a:rPr lang="pl-PL" sz="14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inear</a:t>
                      </a:r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LP 28x84 RGBW 60cm</a:t>
                      </a:r>
                    </a:p>
                    <a:p>
                      <a:pPr algn="l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(boki mostu)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50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22476747"/>
                  </a:ext>
                </a:extLst>
              </a:tr>
              <a:tr h="451757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Vaya </a:t>
                      </a:r>
                      <a:r>
                        <a:rPr lang="pl-PL" sz="14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linear</a:t>
                      </a:r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LP 28x84 RGBW 60cm</a:t>
                      </a:r>
                    </a:p>
                    <a:p>
                      <a:pPr algn="l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(filary)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0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84485371"/>
                  </a:ext>
                </a:extLst>
              </a:tr>
              <a:tr h="451757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Sterowanik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pl-PL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58905124"/>
                  </a:ext>
                </a:extLst>
              </a:tr>
            </a:tbl>
          </a:graphicData>
        </a:graphic>
      </p:graphicFrame>
      <p:pic>
        <p:nvPicPr>
          <p:cNvPr id="9" name="Obraz 8">
            <a:extLst>
              <a:ext uri="{FF2B5EF4-FFF2-40B4-BE49-F238E27FC236}">
                <a16:creationId xmlns:a16="http://schemas.microsoft.com/office/drawing/2014/main" id="{04E14109-9036-48E9-9600-53D0BF18E2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220" y="0"/>
            <a:ext cx="52615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3872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78437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C9D54F9C-62D5-4F59-99D5-0E5488535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ymiary obiektu</a:t>
            </a:r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252F043C-0E97-473B-B32E-BEE161D9E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030C6B-9BC1-4E6C-A896-3179724DA85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961ABE-3D26-419D-A896-C99AA5ECCFDF}"/>
              </a:ext>
            </a:extLst>
          </p:cNvPr>
          <p:cNvSpPr/>
          <p:nvPr/>
        </p:nvSpPr>
        <p:spPr>
          <a:xfrm>
            <a:off x="0" y="1520825"/>
            <a:ext cx="12192000" cy="5337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900"/>
              </a:spcAft>
            </a:pPr>
            <a:endParaRPr lang="fr-FR" sz="1800" dirty="0" err="1">
              <a:solidFill>
                <a:schemeClr val="bg1"/>
              </a:solidFill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7A72F84F-BE87-4D9C-97D4-143A64209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15830"/>
            <a:ext cx="12192000" cy="2505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5978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az 9">
            <a:extLst>
              <a:ext uri="{FF2B5EF4-FFF2-40B4-BE49-F238E27FC236}">
                <a16:creationId xmlns:a16="http://schemas.microsoft.com/office/drawing/2014/main" id="{380F33D7-F756-4E60-B608-0E9954E8A9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215" y="0"/>
            <a:ext cx="11967569" cy="6858000"/>
          </a:xfrm>
          <a:prstGeom prst="rect">
            <a:avLst/>
          </a:prstGeom>
        </p:spPr>
      </p:pic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17BE0612-7428-41F9-822C-2571C5981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5F411DEF-CD03-4748-94F4-DB858F82BE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A5A316B0-DE39-4A59-B0C0-CA4FFDC039F4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Symulacja komputerowa oświetlenia</a:t>
            </a:r>
          </a:p>
        </p:txBody>
      </p:sp>
    </p:spTree>
    <p:extLst>
      <p:ext uri="{BB962C8B-B14F-4D97-AF65-F5344CB8AC3E}">
        <p14:creationId xmlns:p14="http://schemas.microsoft.com/office/powerpoint/2010/main" val="286344860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55706ED5-2734-45B8-A9D4-D33E8FD5C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4</a:t>
            </a:fld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ytuł 1">
            <a:extLst>
              <a:ext uri="{FF2B5EF4-FFF2-40B4-BE49-F238E27FC236}">
                <a16:creationId xmlns:a16="http://schemas.microsoft.com/office/drawing/2014/main" id="{FFF9A5DE-E2F2-45D8-A5A1-A67F71AD0EAE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Symulacja komputerowa oświetlenia</a:t>
            </a:r>
          </a:p>
        </p:txBody>
      </p:sp>
    </p:spTree>
    <p:extLst>
      <p:ext uri="{BB962C8B-B14F-4D97-AF65-F5344CB8AC3E}">
        <p14:creationId xmlns:p14="http://schemas.microsoft.com/office/powerpoint/2010/main" val="161222875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0AF56EB6-82A5-4426-8442-D9C06A0CB5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5</a:t>
            </a:fld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0B147C-A1C6-42EB-B41C-E95C519972A3}"/>
              </a:ext>
            </a:extLst>
          </p:cNvPr>
          <p:cNvSpPr txBox="1"/>
          <p:nvPr/>
        </p:nvSpPr>
        <p:spPr>
          <a:xfrm>
            <a:off x="408885" y="1271668"/>
            <a:ext cx="2127776" cy="311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defTabSz="1042512">
              <a:lnSpc>
                <a:spcPct val="90000"/>
              </a:lnSpc>
              <a:spcBef>
                <a:spcPct val="0"/>
              </a:spcBef>
              <a:buNone/>
              <a:defRPr sz="24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dirty="0">
                <a:latin typeface="+mn-lt"/>
                <a:ea typeface="+mn-ea"/>
                <a:cs typeface="+mn-cs"/>
              </a:rPr>
              <a:t>Vaya Free Form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ytuł 1">
            <a:extLst>
              <a:ext uri="{FF2B5EF4-FFF2-40B4-BE49-F238E27FC236}">
                <a16:creationId xmlns:a16="http://schemas.microsoft.com/office/drawing/2014/main" id="{D119A607-A982-4563-AE44-D8A114799F72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Symulacja komputerowa oświetlenia</a:t>
            </a:r>
          </a:p>
        </p:txBody>
      </p:sp>
    </p:spTree>
    <p:extLst>
      <p:ext uri="{BB962C8B-B14F-4D97-AF65-F5344CB8AC3E}">
        <p14:creationId xmlns:p14="http://schemas.microsoft.com/office/powerpoint/2010/main" val="305509855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572DDFD3-0BE5-46C8-805C-764E40011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6990"/>
            <a:ext cx="12192000" cy="6858000"/>
          </a:xfrm>
          <a:prstGeom prst="rect">
            <a:avLst/>
          </a:prstGeom>
        </p:spPr>
      </p:pic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6</a:t>
            </a:fld>
            <a:endParaRPr lang="en-US" dirty="0"/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ytuł 1">
            <a:extLst>
              <a:ext uri="{FF2B5EF4-FFF2-40B4-BE49-F238E27FC236}">
                <a16:creationId xmlns:a16="http://schemas.microsoft.com/office/drawing/2014/main" id="{3773DB43-B747-4B79-A331-875AEEF9D2A9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Symulacja komputerowa oświetlenia</a:t>
            </a:r>
          </a:p>
        </p:txBody>
      </p:sp>
    </p:spTree>
    <p:extLst>
      <p:ext uri="{BB962C8B-B14F-4D97-AF65-F5344CB8AC3E}">
        <p14:creationId xmlns:p14="http://schemas.microsoft.com/office/powerpoint/2010/main" val="347058201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7</a:t>
            </a:fld>
            <a:endParaRPr lang="en-US" dirty="0"/>
          </a:p>
        </p:txBody>
      </p:sp>
      <p:pic>
        <p:nvPicPr>
          <p:cNvPr id="14" name="Picture 2" descr="b2bhc.p54imagegallery.component.title">
            <a:extLst>
              <a:ext uri="{FF2B5EF4-FFF2-40B4-BE49-F238E27FC236}">
                <a16:creationId xmlns:a16="http://schemas.microsoft.com/office/drawing/2014/main" id="{55E33604-2451-4E30-8EE4-1E296666A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85" y="3883627"/>
            <a:ext cx="2127776" cy="1702221"/>
          </a:xfrm>
          <a:prstGeom prst="rect">
            <a:avLst/>
          </a:prstGeom>
          <a:noFill/>
          <a:ln>
            <a:solidFill>
              <a:schemeClr val="accent2">
                <a:lumMod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10B147C-A1C6-42EB-B41C-E95C519972A3}"/>
              </a:ext>
            </a:extLst>
          </p:cNvPr>
          <p:cNvSpPr txBox="1"/>
          <p:nvPr/>
        </p:nvSpPr>
        <p:spPr>
          <a:xfrm>
            <a:off x="408885" y="1271668"/>
            <a:ext cx="2127776" cy="311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defTabSz="1042512">
              <a:lnSpc>
                <a:spcPct val="90000"/>
              </a:lnSpc>
              <a:spcBef>
                <a:spcPct val="0"/>
              </a:spcBef>
              <a:buNone/>
              <a:defRPr sz="24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dirty="0">
                <a:latin typeface="+mn-lt"/>
                <a:ea typeface="+mn-ea"/>
                <a:cs typeface="+mn-cs"/>
              </a:rPr>
              <a:t>Vaya Free Form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ytuł 1">
            <a:extLst>
              <a:ext uri="{FF2B5EF4-FFF2-40B4-BE49-F238E27FC236}">
                <a16:creationId xmlns:a16="http://schemas.microsoft.com/office/drawing/2014/main" id="{7FA30BDA-3CC6-4B01-BDE2-39D0CEA3B881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Rozmieszczenie opraw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AB997A3E-791C-4644-A58D-7FDEF771E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23301"/>
            <a:ext cx="12192000" cy="5734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5337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86DB3B7-592F-4909-A03E-3F9A97774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8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AECBA50-F1BD-4D64-8E8B-5EA92BF48237}"/>
              </a:ext>
            </a:extLst>
          </p:cNvPr>
          <p:cNvSpPr txBox="1">
            <a:spLocks/>
          </p:cNvSpPr>
          <p:nvPr/>
        </p:nvSpPr>
        <p:spPr>
          <a:xfrm>
            <a:off x="409883" y="411083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425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tx2"/>
                </a:solidFill>
              </a:rPr>
              <a:t>Rozmieszczenie opraw (biała linia)</a:t>
            </a:r>
            <a:br>
              <a:rPr lang="pl-PL" dirty="0">
                <a:solidFill>
                  <a:schemeClr val="tx2"/>
                </a:solidFill>
              </a:rPr>
            </a:br>
            <a:endParaRPr lang="fr-FR" dirty="0">
              <a:solidFill>
                <a:schemeClr val="tx2"/>
              </a:solidFill>
            </a:endParaRPr>
          </a:p>
        </p:txBody>
      </p:sp>
      <p:pic>
        <p:nvPicPr>
          <p:cNvPr id="14" name="Picture 2" descr="b2bhc.p54imagegallery.component.title">
            <a:extLst>
              <a:ext uri="{FF2B5EF4-FFF2-40B4-BE49-F238E27FC236}">
                <a16:creationId xmlns:a16="http://schemas.microsoft.com/office/drawing/2014/main" id="{55E33604-2451-4E30-8EE4-1E296666A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85" y="3883627"/>
            <a:ext cx="2127776" cy="1702221"/>
          </a:xfrm>
          <a:prstGeom prst="rect">
            <a:avLst/>
          </a:prstGeom>
          <a:noFill/>
          <a:ln>
            <a:solidFill>
              <a:schemeClr val="accent2">
                <a:lumMod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10B147C-A1C6-42EB-B41C-E95C519972A3}"/>
              </a:ext>
            </a:extLst>
          </p:cNvPr>
          <p:cNvSpPr txBox="1"/>
          <p:nvPr/>
        </p:nvSpPr>
        <p:spPr>
          <a:xfrm>
            <a:off x="408885" y="1271668"/>
            <a:ext cx="2127776" cy="311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defTabSz="1042512">
              <a:lnSpc>
                <a:spcPct val="90000"/>
              </a:lnSpc>
              <a:spcBef>
                <a:spcPct val="0"/>
              </a:spcBef>
              <a:buNone/>
              <a:defRPr sz="24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dirty="0">
                <a:latin typeface="+mn-lt"/>
                <a:ea typeface="+mn-ea"/>
                <a:cs typeface="+mn-cs"/>
              </a:rPr>
              <a:t>Vaya Free Form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Obraz 5">
            <a:extLst>
              <a:ext uri="{FF2B5EF4-FFF2-40B4-BE49-F238E27FC236}">
                <a16:creationId xmlns:a16="http://schemas.microsoft.com/office/drawing/2014/main" id="{7EAD446E-5193-40A2-928E-E398109A73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ytuł 1">
            <a:extLst>
              <a:ext uri="{FF2B5EF4-FFF2-40B4-BE49-F238E27FC236}">
                <a16:creationId xmlns:a16="http://schemas.microsoft.com/office/drawing/2014/main" id="{7FA30BDA-3CC6-4B01-BDE2-39D0CEA3B881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Rozmieszczenie opraw</a:t>
            </a:r>
          </a:p>
        </p:txBody>
      </p:sp>
    </p:spTree>
    <p:extLst>
      <p:ext uri="{BB962C8B-B14F-4D97-AF65-F5344CB8AC3E}">
        <p14:creationId xmlns:p14="http://schemas.microsoft.com/office/powerpoint/2010/main" val="241735042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86DB3B7-592F-4909-A03E-3F9A97774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4F4A0D6B-6E36-4EA3-8E30-07F0782CA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9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AECBA50-F1BD-4D64-8E8B-5EA92BF48237}"/>
              </a:ext>
            </a:extLst>
          </p:cNvPr>
          <p:cNvSpPr txBox="1">
            <a:spLocks/>
          </p:cNvSpPr>
          <p:nvPr/>
        </p:nvSpPr>
        <p:spPr>
          <a:xfrm>
            <a:off x="409883" y="411083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4251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tx2"/>
                </a:solidFill>
              </a:rPr>
              <a:t>Rozmieszczenie opraw (biała linia)</a:t>
            </a:r>
            <a:br>
              <a:rPr lang="pl-PL" dirty="0">
                <a:solidFill>
                  <a:schemeClr val="tx2"/>
                </a:solidFill>
              </a:rPr>
            </a:br>
            <a:endParaRPr lang="fr-FR" dirty="0">
              <a:solidFill>
                <a:schemeClr val="tx2"/>
              </a:solidFill>
            </a:endParaRPr>
          </a:p>
        </p:txBody>
      </p:sp>
      <p:pic>
        <p:nvPicPr>
          <p:cNvPr id="14" name="Picture 2" descr="b2bhc.p54imagegallery.component.title">
            <a:extLst>
              <a:ext uri="{FF2B5EF4-FFF2-40B4-BE49-F238E27FC236}">
                <a16:creationId xmlns:a16="http://schemas.microsoft.com/office/drawing/2014/main" id="{55E33604-2451-4E30-8EE4-1E296666A4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85" y="3883627"/>
            <a:ext cx="2127776" cy="1702221"/>
          </a:xfrm>
          <a:prstGeom prst="rect">
            <a:avLst/>
          </a:prstGeom>
          <a:noFill/>
          <a:ln>
            <a:solidFill>
              <a:schemeClr val="accent2">
                <a:lumMod val="2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10B147C-A1C6-42EB-B41C-E95C519972A3}"/>
              </a:ext>
            </a:extLst>
          </p:cNvPr>
          <p:cNvSpPr txBox="1"/>
          <p:nvPr/>
        </p:nvSpPr>
        <p:spPr>
          <a:xfrm>
            <a:off x="408885" y="1271668"/>
            <a:ext cx="2127776" cy="3110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defTabSz="1042512">
              <a:lnSpc>
                <a:spcPct val="90000"/>
              </a:lnSpc>
              <a:spcBef>
                <a:spcPct val="0"/>
              </a:spcBef>
              <a:buNone/>
              <a:defRPr sz="24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dirty="0">
                <a:latin typeface="+mn-lt"/>
                <a:ea typeface="+mn-ea"/>
                <a:cs typeface="+mn-cs"/>
              </a:rPr>
              <a:t>Vaya Free Form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7F3820-042C-4579-A3E7-18E427759A3F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2536661" y="4734738"/>
            <a:ext cx="997645" cy="722750"/>
          </a:xfrm>
          <a:prstGeom prst="straightConnector1">
            <a:avLst/>
          </a:prstGeom>
          <a:ln w="9525">
            <a:solidFill>
              <a:schemeClr val="tx2"/>
            </a:solidFill>
            <a:headEnd type="none"/>
            <a:tailEnd type="oval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Obraz 2">
            <a:extLst>
              <a:ext uri="{FF2B5EF4-FFF2-40B4-BE49-F238E27FC236}">
                <a16:creationId xmlns:a16="http://schemas.microsoft.com/office/drawing/2014/main" id="{AD386D7C-C0AE-4F08-AA2D-108DBE1E9B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2" name="Tytuł 1">
            <a:extLst>
              <a:ext uri="{FF2B5EF4-FFF2-40B4-BE49-F238E27FC236}">
                <a16:creationId xmlns:a16="http://schemas.microsoft.com/office/drawing/2014/main" id="{B2FD88CA-CB6F-4E0F-B468-E0C29E27A877}"/>
              </a:ext>
            </a:extLst>
          </p:cNvPr>
          <p:cNvSpPr txBox="1">
            <a:spLocks/>
          </p:cNvSpPr>
          <p:nvPr/>
        </p:nvSpPr>
        <p:spPr>
          <a:xfrm>
            <a:off x="563278" y="6648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9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Rozmieszczenie opraw</a:t>
            </a:r>
          </a:p>
        </p:txBody>
      </p:sp>
    </p:spTree>
    <p:extLst>
      <p:ext uri="{BB962C8B-B14F-4D97-AF65-F5344CB8AC3E}">
        <p14:creationId xmlns:p14="http://schemas.microsoft.com/office/powerpoint/2010/main" val="107345178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heme/theme1.xml><?xml version="1.0" encoding="utf-8"?>
<a:theme xmlns:a="http://schemas.openxmlformats.org/drawingml/2006/main" name="Signify PowerPoint Theme">
  <a:themeElements>
    <a:clrScheme name="Signify colour theme">
      <a:dk1>
        <a:sysClr val="windowText" lastClr="000000"/>
      </a:dk1>
      <a:lt1>
        <a:sysClr val="window" lastClr="FFFFFF"/>
      </a:lt1>
      <a:dk2>
        <a:srgbClr val="3C3C41"/>
      </a:dk2>
      <a:lt2>
        <a:srgbClr val="FFFFFF"/>
      </a:lt2>
      <a:accent1>
        <a:srgbClr val="969696"/>
      </a:accent1>
      <a:accent2>
        <a:srgbClr val="D5D5D5"/>
      </a:accent2>
      <a:accent3>
        <a:srgbClr val="00E487"/>
      </a:accent3>
      <a:accent4>
        <a:srgbClr val="66EFB7"/>
      </a:accent4>
      <a:accent5>
        <a:srgbClr val="1432FF"/>
      </a:accent5>
      <a:accent6>
        <a:srgbClr val="A1ADFF"/>
      </a:accent6>
      <a:hlink>
        <a:srgbClr val="0563C1"/>
      </a:hlink>
      <a:folHlink>
        <a:srgbClr val="954F72"/>
      </a:folHlink>
    </a:clrScheme>
    <a:fontScheme name="Signify UPDATED font theme">
      <a:majorFont>
        <a:latin typeface="Signify Raisonne DemiBold"/>
        <a:ea typeface=""/>
        <a:cs typeface=""/>
      </a:majorFont>
      <a:minorFont>
        <a:latin typeface="Signify Relative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 Multi-Brand template 16_9 Brand Fonts.potx" id="{F8A62773-587B-4EDB-897A-5CD99DE38308}" vid="{B096FF85-1FF8-423C-BA6F-C91D1FD0F53E}"/>
    </a:ext>
  </a:extLst>
</a:theme>
</file>

<file path=ppt/theme/theme2.xml><?xml version="1.0" encoding="utf-8"?>
<a:theme xmlns:a="http://schemas.openxmlformats.org/drawingml/2006/main" name="Interact PowerPoint Theme">
  <a:themeElements>
    <a:clrScheme name="Interact colour theme">
      <a:dk1>
        <a:sysClr val="windowText" lastClr="000000"/>
      </a:dk1>
      <a:lt1>
        <a:sysClr val="window" lastClr="FFFFFF"/>
      </a:lt1>
      <a:dk2>
        <a:srgbClr val="3C3C41"/>
      </a:dk2>
      <a:lt2>
        <a:srgbClr val="FFFFFF"/>
      </a:lt2>
      <a:accent1>
        <a:srgbClr val="969696"/>
      </a:accent1>
      <a:accent2>
        <a:srgbClr val="D5D5D5"/>
      </a:accent2>
      <a:accent3>
        <a:srgbClr val="FF375F"/>
      </a:accent3>
      <a:accent4>
        <a:srgbClr val="FF879F"/>
      </a:accent4>
      <a:accent5>
        <a:srgbClr val="1432FF"/>
      </a:accent5>
      <a:accent6>
        <a:srgbClr val="A1ADFF"/>
      </a:accent6>
      <a:hlink>
        <a:srgbClr val="0563C1"/>
      </a:hlink>
      <a:folHlink>
        <a:srgbClr val="954F72"/>
      </a:folHlink>
    </a:clrScheme>
    <a:fontScheme name="Interact UPDATED font theme">
      <a:majorFont>
        <a:latin typeface="Signify Relative Faux"/>
        <a:ea typeface=""/>
        <a:cs typeface=""/>
      </a:majorFont>
      <a:minorFont>
        <a:latin typeface="Signify Relative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 Multi-Brand template 16_9 Brand Fonts.potx" id="{F8A62773-587B-4EDB-897A-5CD99DE38308}" vid="{DB7B63A0-A141-44D6-82FF-C086BAC53F98}"/>
    </a:ext>
  </a:extLst>
</a:theme>
</file>

<file path=ppt/theme/theme3.xml><?xml version="1.0" encoding="utf-8"?>
<a:theme xmlns:a="http://schemas.openxmlformats.org/drawingml/2006/main" name="Colour Kinetics PowerPoint Theme">
  <a:themeElements>
    <a:clrScheme name="Custom 1">
      <a:dk1>
        <a:sysClr val="windowText" lastClr="000000"/>
      </a:dk1>
      <a:lt1>
        <a:sysClr val="window" lastClr="FFFFFF"/>
      </a:lt1>
      <a:dk2>
        <a:srgbClr val="00005A"/>
      </a:dk2>
      <a:lt2>
        <a:srgbClr val="2D004B"/>
      </a:lt2>
      <a:accent1>
        <a:srgbClr val="FF557D"/>
      </a:accent1>
      <a:accent2>
        <a:srgbClr val="FFFF28"/>
      </a:accent2>
      <a:accent3>
        <a:srgbClr val="64E1F5"/>
      </a:accent3>
      <a:accent4>
        <a:srgbClr val="FF9600"/>
      </a:accent4>
      <a:accent5>
        <a:srgbClr val="002D2D"/>
      </a:accent5>
      <a:accent6>
        <a:srgbClr val="46001E"/>
      </a:accent6>
      <a:hlink>
        <a:srgbClr val="0563C1"/>
      </a:hlink>
      <a:folHlink>
        <a:srgbClr val="954F72"/>
      </a:folHlink>
    </a:clrScheme>
    <a:fontScheme name="Color Kinetics font theme">
      <a:majorFont>
        <a:latin typeface="Poppi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Blue 100%">
      <a:srgbClr val="00005A"/>
    </a:custClr>
    <a:custClr name="Blue 70%">
      <a:srgbClr val="4C4C8B"/>
    </a:custClr>
    <a:custClr name="Purple 100%">
      <a:srgbClr val="2D004B"/>
    </a:custClr>
    <a:custClr name="Purple 70%">
      <a:srgbClr val="6C4C81"/>
    </a:custClr>
    <a:custClr name="Green 100%">
      <a:srgbClr val="002D2D"/>
    </a:custClr>
    <a:custClr name="Green 70%">
      <a:srgbClr val="4C6C6C"/>
    </a:custClr>
    <a:custClr name="Red 100%">
      <a:srgbClr val="46001E"/>
    </a:custClr>
    <a:custClr name="Red 70%">
      <a:srgbClr val="7D4C61"/>
    </a:custClr>
    <a:custClr name=" ">
      <a:srgbClr val="FFFFFF"/>
    </a:custClr>
    <a:custClr name=" ">
      <a:srgbClr val="FFFFFF"/>
    </a:custClr>
    <a:custClr name="Yellow 100%">
      <a:srgbClr val="FFFF28"/>
    </a:custClr>
    <a:custClr name="Yellow 70%">
      <a:srgbClr val="FFFF68"/>
    </a:custClr>
    <a:custClr name="Orange 100%">
      <a:srgbClr val="FF9600"/>
    </a:custClr>
    <a:custClr name="Orange 70%">
      <a:srgbClr val="FFB54C"/>
    </a:custClr>
    <a:custClr name="Pink 100%">
      <a:srgbClr val="FF557D"/>
    </a:custClr>
    <a:custClr name="Pink 70%">
      <a:srgbClr val="FF88A4"/>
    </a:custClr>
    <a:custClr name="Cyan 100%">
      <a:srgbClr val="64E1F5"/>
    </a:custClr>
    <a:custClr name="Cyan 70%">
      <a:srgbClr val="92EAF8"/>
    </a:custClr>
  </a:custClrLst>
  <a:extLst>
    <a:ext uri="{05A4C25C-085E-4340-85A3-A5531E510DB2}">
      <thm15:themeFamily xmlns:thm15="http://schemas.microsoft.com/office/thememl/2012/main" name="Philips Multi-Brand template 16_9 Brand Fonts.potx" id="{F8A62773-587B-4EDB-897A-5CD99DE38308}" vid="{60263972-FB94-47C8-88A6-6B44A7FE365F}"/>
    </a:ext>
  </a:extLst>
</a:theme>
</file>

<file path=ppt/theme/theme4.xml><?xml version="1.0" encoding="utf-8"?>
<a:theme xmlns:a="http://schemas.openxmlformats.org/drawingml/2006/main" name="Philips PPT theme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 Multi-Brand template 16_9 Brand Fonts.potx" id="{F8A62773-587B-4EDB-897A-5CD99DE38308}" vid="{35836060-5446-4839-8E4F-D406A3D8634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</TotalTime>
  <Words>107</Words>
  <Application>Microsoft Office PowerPoint</Application>
  <PresentationFormat>Panoramiczny</PresentationFormat>
  <Paragraphs>36</Paragraphs>
  <Slides>15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10</vt:i4>
      </vt:variant>
      <vt:variant>
        <vt:lpstr>Motyw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30" baseType="lpstr">
      <vt:lpstr>Arial</vt:lpstr>
      <vt:lpstr>Calibri</vt:lpstr>
      <vt:lpstr>Calibri Light</vt:lpstr>
      <vt:lpstr>Open Sans Light</vt:lpstr>
      <vt:lpstr>Open Sans SemiBold</vt:lpstr>
      <vt:lpstr>Poppins SemiBold</vt:lpstr>
      <vt:lpstr>Signify Raisonne DemiBold</vt:lpstr>
      <vt:lpstr>Signify Relative Bold</vt:lpstr>
      <vt:lpstr>Signify Relative Book</vt:lpstr>
      <vt:lpstr>Signify Relative Faux</vt:lpstr>
      <vt:lpstr>Signify PowerPoint Theme</vt:lpstr>
      <vt:lpstr>Interact PowerPoint Theme</vt:lpstr>
      <vt:lpstr>Colour Kinetics PowerPoint Theme</vt:lpstr>
      <vt:lpstr>Philips PPT theme</vt:lpstr>
      <vt:lpstr>think-cell Slide</vt:lpstr>
      <vt:lpstr>Koncepcja iluminacji mostu w ciągu drogi powiatowej  NR 3090P W M. LĄD </vt:lpstr>
      <vt:lpstr>Wymiary obiektu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Zestawienie głównych materiałów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present  Lighting design</dc:title>
  <dc:creator>Natacha Lameyre</dc:creator>
  <cp:lastModifiedBy>Przemyslaw Wronowski</cp:lastModifiedBy>
  <cp:revision>33</cp:revision>
  <dcterms:created xsi:type="dcterms:W3CDTF">2020-07-22T12:57:23Z</dcterms:created>
  <dcterms:modified xsi:type="dcterms:W3CDTF">2022-02-16T03:2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def8eab-07d6-4849-8b43-f2fe9ec60b55_Enabled">
    <vt:lpwstr>True</vt:lpwstr>
  </property>
  <property fmtid="{D5CDD505-2E9C-101B-9397-08002B2CF9AE}" pid="3" name="MSIP_Label_7def8eab-07d6-4849-8b43-f2fe9ec60b55_SiteId">
    <vt:lpwstr>75b2f54b-feff-400d-8e0b-67102edb9a23</vt:lpwstr>
  </property>
  <property fmtid="{D5CDD505-2E9C-101B-9397-08002B2CF9AE}" pid="4" name="MSIP_Label_7def8eab-07d6-4849-8b43-f2fe9ec60b55_Owner">
    <vt:lpwstr>natacha.lameyre@signify.com</vt:lpwstr>
  </property>
  <property fmtid="{D5CDD505-2E9C-101B-9397-08002B2CF9AE}" pid="5" name="MSIP_Label_7def8eab-07d6-4849-8b43-f2fe9ec60b55_SetDate">
    <vt:lpwstr>2020-07-22T13:04:32.9874167Z</vt:lpwstr>
  </property>
  <property fmtid="{D5CDD505-2E9C-101B-9397-08002B2CF9AE}" pid="6" name="MSIP_Label_7def8eab-07d6-4849-8b43-f2fe9ec60b55_Name">
    <vt:lpwstr>Signify - Internal</vt:lpwstr>
  </property>
  <property fmtid="{D5CDD505-2E9C-101B-9397-08002B2CF9AE}" pid="7" name="MSIP_Label_7def8eab-07d6-4849-8b43-f2fe9ec60b55_Application">
    <vt:lpwstr>Microsoft Azure Information Protection</vt:lpwstr>
  </property>
  <property fmtid="{D5CDD505-2E9C-101B-9397-08002B2CF9AE}" pid="8" name="MSIP_Label_7def8eab-07d6-4849-8b43-f2fe9ec60b55_ActionId">
    <vt:lpwstr>4488ebc9-20aa-43b1-a28a-a30a374b6b50</vt:lpwstr>
  </property>
  <property fmtid="{D5CDD505-2E9C-101B-9397-08002B2CF9AE}" pid="9" name="MSIP_Label_7def8eab-07d6-4849-8b43-f2fe9ec60b55_Extended_MSFT_Method">
    <vt:lpwstr>Automatic</vt:lpwstr>
  </property>
  <property fmtid="{D5CDD505-2E9C-101B-9397-08002B2CF9AE}" pid="10" name="Sensitivity">
    <vt:lpwstr>Signify - Internal</vt:lpwstr>
  </property>
</Properties>
</file>